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 id="2147484368" r:id="rId6"/>
  </p:sldMasterIdLst>
  <p:notesMasterIdLst>
    <p:notesMasterId r:id="rId43"/>
  </p:notesMasterIdLst>
  <p:handoutMasterIdLst>
    <p:handoutMasterId r:id="rId44"/>
  </p:handoutMasterIdLst>
  <p:sldIdLst>
    <p:sldId id="256" r:id="rId7"/>
    <p:sldId id="257" r:id="rId8"/>
    <p:sldId id="258" r:id="rId9"/>
    <p:sldId id="259" r:id="rId10"/>
    <p:sldId id="312" r:id="rId11"/>
    <p:sldId id="316" r:id="rId12"/>
    <p:sldId id="315" r:id="rId13"/>
    <p:sldId id="317" r:id="rId14"/>
    <p:sldId id="314" r:id="rId15"/>
    <p:sldId id="318" r:id="rId16"/>
    <p:sldId id="319" r:id="rId17"/>
    <p:sldId id="324" r:id="rId18"/>
    <p:sldId id="325" r:id="rId19"/>
    <p:sldId id="320" r:id="rId20"/>
    <p:sldId id="326" r:id="rId21"/>
    <p:sldId id="345" r:id="rId22"/>
    <p:sldId id="322" r:id="rId23"/>
    <p:sldId id="323" r:id="rId24"/>
    <p:sldId id="327" r:id="rId25"/>
    <p:sldId id="346" r:id="rId26"/>
    <p:sldId id="328" r:id="rId27"/>
    <p:sldId id="329" r:id="rId28"/>
    <p:sldId id="280" r:id="rId29"/>
    <p:sldId id="330" r:id="rId30"/>
    <p:sldId id="331" r:id="rId31"/>
    <p:sldId id="332" r:id="rId32"/>
    <p:sldId id="333" r:id="rId33"/>
    <p:sldId id="334" r:id="rId34"/>
    <p:sldId id="337" r:id="rId35"/>
    <p:sldId id="339" r:id="rId36"/>
    <p:sldId id="342" r:id="rId37"/>
    <p:sldId id="343" r:id="rId38"/>
    <p:sldId id="348" r:id="rId39"/>
    <p:sldId id="349" r:id="rId40"/>
    <p:sldId id="298" r:id="rId41"/>
    <p:sldId id="347"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88"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4/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4/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B9AB204-7D86-4363-947A-E892579E27F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83529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B9AB204-7D86-4363-947A-E892579E27F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3175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4/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4/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4/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6 6: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8.jp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8682749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465694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4857777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2"/>
            <a:ext cx="6172201" cy="6994524"/>
          </a:xfrm>
          <a:prstGeom prst="rect">
            <a:avLst/>
          </a:prstGeom>
        </p:spPr>
      </p:pic>
      <p:sp>
        <p:nvSpPr>
          <p:cNvPr id="9" name="Rectangle 8"/>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053121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64664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0835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4586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244567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3684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9255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89"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4/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4/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77811"/>
          </a:xfrm>
          <a:prstGeom prst="rect">
            <a:avLst/>
          </a:prstGeom>
          <a:noFill/>
        </p:spPr>
        <p:txBody>
          <a:bodyPr wrap="square" lIns="182854" tIns="146283" rIns="182854" bIns="146283" rtlCol="0">
            <a:spAutoFit/>
          </a:bodyPr>
          <a:lstStyle/>
          <a:p>
            <a:pPr algn="r">
              <a:lnSpc>
                <a:spcPct val="90000"/>
              </a:lnSpc>
              <a:spcAft>
                <a:spcPts val="600"/>
              </a:spcAft>
            </a:pPr>
            <a:r>
              <a:rPr lang="en-US" sz="3999" b="1" dirty="0" err="1">
                <a:gradFill>
                  <a:gsLst>
                    <a:gs pos="2917">
                      <a:schemeClr val="tx1"/>
                    </a:gs>
                    <a:gs pos="30000">
                      <a:schemeClr val="tx1"/>
                    </a:gs>
                  </a:gsLst>
                  <a:lin ang="5400000" scaled="0"/>
                </a:gradFill>
                <a:latin typeface="+mj-lt"/>
              </a:rPr>
              <a:t>CloudTech</a:t>
            </a:r>
            <a:endParaRPr lang="en-US" sz="3999"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199"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3" y="156807"/>
            <a:ext cx="1552931" cy="332660"/>
          </a:xfrm>
          <a:prstGeom prst="rect">
            <a:avLst/>
          </a:prstGeom>
        </p:spPr>
      </p:pic>
      <p:sp>
        <p:nvSpPr>
          <p:cNvPr id="8" name="Rectangle 7"/>
          <p:cNvSpPr/>
          <p:nvPr userDrawn="1"/>
        </p:nvSpPr>
        <p:spPr>
          <a:xfrm>
            <a:off x="1999244" y="159761"/>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40589641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938"/>
            <a:ext cx="12466637" cy="7010400"/>
          </a:xfrm>
          <a:prstGeom prst="rect">
            <a:avLst/>
          </a:prstGeom>
        </p:spPr>
      </p:pic>
      <p:sp>
        <p:nvSpPr>
          <p:cNvPr id="19" name="Dark gradation top"/>
          <p:cNvSpPr/>
          <p:nvPr userDrawn="1"/>
        </p:nvSpPr>
        <p:spPr bwMode="gray">
          <a:xfrm>
            <a:off x="1"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9"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1" y="2125662"/>
            <a:ext cx="6021387"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9" y="4228783"/>
            <a:ext cx="6019799"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3" y="156807"/>
            <a:ext cx="1552931" cy="332660"/>
          </a:xfrm>
          <a:prstGeom prst="rect">
            <a:avLst/>
          </a:prstGeom>
        </p:spPr>
      </p:pic>
      <p:sp>
        <p:nvSpPr>
          <p:cNvPr id="4" name="Rectangle 3"/>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4" y="159761"/>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3414024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
        <p:nvSpPr>
          <p:cNvPr id="11" name="Rectangle 10"/>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1372779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sp>
        <p:nvSpPr>
          <p:cNvPr id="11" name="Rectangle 10"/>
          <p:cNvSpPr/>
          <p:nvPr userDrawn="1"/>
        </p:nvSpPr>
        <p:spPr>
          <a:xfrm>
            <a:off x="2107066" y="6181374"/>
            <a:ext cx="6021387" cy="376684"/>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599"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3" y="719994"/>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7576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662006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666930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20274128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338233292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9652506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8" y="81358"/>
            <a:ext cx="6021387" cy="1302438"/>
          </a:xfrm>
          <a:prstGeom prst="rect">
            <a:avLst/>
          </a:prstGeom>
        </p:spPr>
        <p:txBody>
          <a:bodyPr wrap="square">
            <a:spAutoFit/>
          </a:bodyPr>
          <a:lstStyle/>
          <a:p>
            <a:pPr algn="l">
              <a:lnSpc>
                <a:spcPct val="90000"/>
              </a:lnSpc>
              <a:spcAft>
                <a:spcPts val="600"/>
              </a:spcAft>
            </a:pPr>
            <a:r>
              <a:rPr lang="en-US" sz="4799" b="1" kern="1200" dirty="0" err="1">
                <a:gradFill>
                  <a:gsLst>
                    <a:gs pos="2917">
                      <a:schemeClr val="tx1"/>
                    </a:gs>
                    <a:gs pos="30000">
                      <a:schemeClr val="tx1"/>
                    </a:gs>
                  </a:gsLst>
                  <a:lin ang="5400000" scaled="0"/>
                </a:gradFill>
                <a:latin typeface="+mj-lt"/>
                <a:ea typeface="+mn-ea"/>
                <a:cs typeface="+mn-cs"/>
              </a:rPr>
              <a:t>CloudTech</a:t>
            </a:r>
            <a:endParaRPr lang="en-US" sz="4799"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199" b="0" kern="1200" dirty="0">
                <a:gradFill>
                  <a:gsLst>
                    <a:gs pos="2917">
                      <a:schemeClr val="tx1"/>
                    </a:gs>
                    <a:gs pos="30000">
                      <a:schemeClr val="tx1"/>
                    </a:gs>
                  </a:gsLst>
                  <a:lin ang="5400000" scaled="0"/>
                </a:gradFill>
                <a:latin typeface="+mj-lt"/>
                <a:ea typeface="+mn-ea"/>
                <a:cs typeface="+mn-cs"/>
              </a:rPr>
              <a:t>Marrakesh 2016</a:t>
            </a:r>
            <a:endParaRPr lang="en-US" sz="3999"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212414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337959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747760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77312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2096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853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6511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933840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16810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731869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09283232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5424078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77586696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033896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theme" Target="../theme/theme3.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image" Target="../media/image2.png"/><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671072351"/>
      </p:ext>
    </p:extLst>
  </p:cSld>
  <p:clrMap bg1="dk1" tx1="lt1" bg2="dk2" tx2="lt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hyperlink" Target="mailto:scullino@ismb.it" TargetMode="Externa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 using Java language</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data distrubution</a:t>
            </a:r>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724644"/>
          </a:xfrm>
        </p:spPr>
        <p:txBody>
          <a:bodyPr/>
          <a:lstStyle/>
          <a:p>
            <a:r>
              <a:rPr lang="it-IT" dirty="0"/>
              <a:t>Other tool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a:t>Storm</a:t>
            </a:r>
            <a:r>
              <a:rPr lang="en-US" dirty="0"/>
              <a:t>: distributed real time computation system for processing large stream of data</a:t>
            </a:r>
          </a:p>
          <a:p>
            <a:pPr lvl="1"/>
            <a:r>
              <a:rPr lang="en-US" b="1" dirty="0"/>
              <a:t>Spark</a:t>
            </a:r>
            <a:r>
              <a:rPr lang="en-US" dirty="0"/>
              <a:t>: process data in memory</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br>
              <a:rPr lang="en-US" sz="4400" dirty="0"/>
            </a:br>
            <a:br>
              <a:rPr lang="en-US" sz="4400" dirty="0"/>
            </a:br>
            <a:r>
              <a:rPr lang="it-IT" sz="4400" dirty="0">
                <a:solidFill>
                  <a:srgbClr val="00BCF2"/>
                </a:solidFill>
              </a:rPr>
              <a:t>https://git.io/vrwyo</a:t>
            </a:r>
            <a:br>
              <a:rPr lang="it-IT" sz="4400" dirty="0">
                <a:solidFill>
                  <a:srgbClr val="00BCF2"/>
                </a:solidFill>
              </a:rPr>
            </a:br>
            <a:endParaRPr lang="en-US" sz="4400" dirty="0"/>
          </a:p>
        </p:txBody>
      </p:sp>
      <p:sp>
        <p:nvSpPr>
          <p:cNvPr id="3" name="Text Placeholder 2"/>
          <p:cNvSpPr>
            <a:spLocks noGrp="1"/>
          </p:cNvSpPr>
          <p:nvPr>
            <p:ph type="body" sz="quarter" idx="14"/>
          </p:nvPr>
        </p:nvSpPr>
        <p:spPr/>
        <p:txBody>
          <a:bodyPr/>
          <a:lstStyle/>
          <a:p>
            <a:endParaRPr lang="en-US"/>
          </a:p>
          <a:p>
            <a:endParaRPr lang="en-US"/>
          </a:p>
          <a:p>
            <a:r>
              <a:rPr lang="en-US"/>
              <a:t>Francesco </a:t>
            </a:r>
            <a:r>
              <a:rPr lang="en-US" dirty="0"/>
              <a:t>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5022914"/>
          </a:xfrm>
        </p:spPr>
        <p:txBody>
          <a:bodyPr/>
          <a:lstStyle/>
          <a:p>
            <a:r>
              <a:rPr lang="en-US" dirty="0"/>
              <a:t>Windows (</a:t>
            </a:r>
            <a:r>
              <a:rPr lang="it-IT" dirty="0"/>
              <a:t>Hortonworks Data Platform)</a:t>
            </a:r>
            <a:r>
              <a:rPr lang="en-US" dirty="0"/>
              <a:t> and Linux clusters</a:t>
            </a:r>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r>
              <a:rPr lang="en-US" dirty="0"/>
              <a:t>Languages: Java, C#, Python, F#</a:t>
            </a:r>
          </a:p>
          <a:p>
            <a:r>
              <a:rPr lang="en-US" dirty="0"/>
              <a:t>Separate Compute from Storage</a:t>
            </a:r>
          </a:p>
          <a:p>
            <a:pPr lvl="1"/>
            <a:r>
              <a:rPr lang="en-US" dirty="0"/>
              <a:t>Azure Blob Storage in lieu of traditional HDFS</a:t>
            </a:r>
          </a:p>
        </p:txBody>
      </p:sp>
      <p:sp>
        <p:nvSpPr>
          <p:cNvPr id="3" name="Title 2"/>
          <p:cNvSpPr>
            <a:spLocks noGrp="1"/>
          </p:cNvSpPr>
          <p:nvPr>
            <p:ph type="title"/>
          </p:nvPr>
        </p:nvSpPr>
        <p:spPr/>
        <p:txBody>
          <a:bodyPr/>
          <a:lstStyle/>
          <a:p>
            <a:r>
              <a:rPr lang="it-IT" dirty="0"/>
              <a:t>Hadoop on Azure = HDInsight</a:t>
            </a:r>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br>
              <a:rPr lang="en-US" dirty="0"/>
            </a:br>
            <a:r>
              <a:rPr lang="en-US" sz="7200" dirty="0">
                <a:solidFill>
                  <a:srgbClr val="00BCF2"/>
                </a:solidFill>
              </a:rPr>
              <a:t>https://git.io/vr29x</a:t>
            </a:r>
            <a:endParaRPr lang="en-US" dirty="0">
              <a:solidFill>
                <a:srgbClr val="00BCF2"/>
              </a:solidFill>
            </a:endParaRP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br>
              <a:rPr lang="en-US" dirty="0"/>
            </a:br>
            <a:r>
              <a:rPr lang="en-US" sz="7200" dirty="0">
                <a:solidFill>
                  <a:srgbClr val="00B0F0"/>
                </a:solidFill>
              </a:rPr>
              <a:t>https://git.io/vrray</a:t>
            </a:r>
          </a:p>
        </p:txBody>
      </p:sp>
    </p:spTree>
    <p:extLst>
      <p:ext uri="{BB962C8B-B14F-4D97-AF65-F5344CB8AC3E}">
        <p14:creationId xmlns:p14="http://schemas.microsoft.com/office/powerpoint/2010/main" val="338749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br>
              <a:rPr lang="en-US" dirty="0"/>
            </a:br>
            <a:r>
              <a:rPr lang="en-US" sz="7198" dirty="0">
                <a:solidFill>
                  <a:srgbClr val="00BCF2"/>
                </a:solidFill>
              </a:rPr>
              <a:t>https://git.io/vrraF</a:t>
            </a:r>
            <a:endParaRPr lang="en-US" dirty="0">
              <a:solidFill>
                <a:srgbClr val="00BCF2"/>
              </a:solidFill>
            </a:endParaRPr>
          </a:p>
        </p:txBody>
      </p:sp>
    </p:spTree>
    <p:extLst>
      <p:ext uri="{BB962C8B-B14F-4D97-AF65-F5344CB8AC3E}">
        <p14:creationId xmlns:p14="http://schemas.microsoft.com/office/powerpoint/2010/main" val="233187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4342599"/>
          </a:xfrm>
        </p:spPr>
        <p:txBody>
          <a:bodyPr/>
          <a:lstStyle/>
          <a:p>
            <a:r>
              <a:rPr lang="en-US" dirty="0"/>
              <a:t>Microsoft Azure: </a:t>
            </a:r>
            <a:r>
              <a:rPr lang="en-US" u="sng" dirty="0">
                <a:solidFill>
                  <a:srgbClr val="00BCF2"/>
                </a:solidFill>
              </a:rPr>
              <a:t>azure.microsoft.com</a:t>
            </a:r>
          </a:p>
          <a:p>
            <a:pPr marL="0" indent="0">
              <a:buNone/>
            </a:pPr>
            <a:endParaRPr lang="en-US" u="sng" dirty="0">
              <a:solidFill>
                <a:srgbClr val="00BCF2"/>
              </a:solidFill>
            </a:endParaRPr>
          </a:p>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 </a:t>
            </a:r>
            <a:r>
              <a:rPr lang="en-US" u="sng" dirty="0">
                <a:solidFill>
                  <a:srgbClr val="0072C6">
                    <a:lumMod val="60000"/>
                    <a:lumOff val="40000"/>
                  </a:srgbClr>
                </a:solidFill>
                <a:latin typeface="Segoe UI Light"/>
              </a:rPr>
              <a:t>microsoftvirtualacademy.com</a:t>
            </a:r>
            <a:endParaRPr lang="en-US" dirty="0">
              <a:solidFill>
                <a:srgbClr val="0072C6">
                  <a:lumMod val="60000"/>
                  <a:lumOff val="40000"/>
                </a:srgbClr>
              </a:solidFill>
              <a:latin typeface="Segoe UI Light"/>
            </a:endParaRPr>
          </a:p>
          <a:p>
            <a:pPr marL="342834" indent="-342834" defTabSz="932563">
              <a:spcBef>
                <a:spcPts val="2400"/>
              </a:spcBef>
              <a:buClr>
                <a:srgbClr val="68217A"/>
              </a:buClr>
            </a:pPr>
            <a:endParaRPr lang="en-US" dirty="0"/>
          </a:p>
          <a:p>
            <a:r>
              <a:rPr lang="en-US" dirty="0"/>
              <a:t>Lots of stuff: </a:t>
            </a:r>
            <a:r>
              <a:rPr lang="en-US" dirty="0">
                <a:hlinkClick r:id="rId3"/>
              </a:rPr>
              <a:t>github.com/Azure-Readiness</a:t>
            </a:r>
            <a:endParaRPr lang="en-US" dirty="0"/>
          </a:p>
        </p:txBody>
      </p:sp>
      <p:sp>
        <p:nvSpPr>
          <p:cNvPr id="2" name="Title 1"/>
          <p:cNvSpPr>
            <a:spLocks noGrp="1"/>
          </p:cNvSpPr>
          <p:nvPr>
            <p:ph type="title"/>
          </p:nvPr>
        </p:nvSpPr>
        <p:spPr/>
        <p:txBody>
          <a:bodyPr/>
          <a:lstStyle/>
          <a:p>
            <a:r>
              <a:rPr lang="en-US" dirty="0"/>
              <a:t>Online resources</a:t>
            </a:r>
          </a:p>
        </p:txBody>
      </p:sp>
    </p:spTree>
    <p:extLst>
      <p:ext uri="{BB962C8B-B14F-4D97-AF65-F5344CB8AC3E}">
        <p14:creationId xmlns:p14="http://schemas.microsoft.com/office/powerpoint/2010/main" val="3630855678"/>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en-US" dirty="0"/>
              <a:t>Q&amp;A</a:t>
            </a:r>
            <a:br>
              <a:rPr lang="en-US" dirty="0"/>
            </a:br>
            <a:endParaRPr lang="en-US" sz="1800" dirty="0"/>
          </a:p>
        </p:txBody>
      </p:sp>
      <p:sp>
        <p:nvSpPr>
          <p:cNvPr id="4" name="Text Placeholder 3"/>
          <p:cNvSpPr>
            <a:spLocks noGrp="1"/>
          </p:cNvSpPr>
          <p:nvPr>
            <p:ph type="body" sz="quarter" idx="14"/>
          </p:nvPr>
        </p:nvSpPr>
        <p:spPr>
          <a:xfrm>
            <a:off x="276000" y="4030662"/>
            <a:ext cx="5485039" cy="914399"/>
          </a:xfrm>
        </p:spPr>
        <p:txBody>
          <a:bodyPr/>
          <a:lstStyle/>
          <a:p>
            <a:r>
              <a:rPr lang="en-US" dirty="0"/>
              <a:t>Francesco Scullino</a:t>
            </a:r>
          </a:p>
          <a:p>
            <a:r>
              <a:rPr lang="en-US" dirty="0">
                <a:hlinkClick r:id="rId2"/>
              </a:rPr>
              <a:t>scullino@ismb.it</a:t>
            </a:r>
            <a:endParaRPr lang="en-US" dirty="0"/>
          </a:p>
          <a:p>
            <a:r>
              <a:rPr lang="en-US" u="sng" dirty="0">
                <a:solidFill>
                  <a:srgbClr val="00BCF2"/>
                </a:solidFill>
              </a:rPr>
              <a:t>v-frscul@microsoft.com</a:t>
            </a:r>
          </a:p>
        </p:txBody>
      </p:sp>
    </p:spTree>
    <p:extLst>
      <p:ext uri="{BB962C8B-B14F-4D97-AF65-F5344CB8AC3E}">
        <p14:creationId xmlns:p14="http://schemas.microsoft.com/office/powerpoint/2010/main" val="2065879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e36bfbf9-5e42-489c-a259-4c54eb22cb57"/>
    <ds:schemaRef ds:uri="230e9df3-be65-4c73-a93b-d1236ebd677e"/>
    <ds:schemaRef ds:uri="http://www.w3.org/XML/1998/namespace"/>
    <ds:schemaRef ds:uri="http://purl.org/dc/elements/1.1/"/>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1047</TotalTime>
  <Words>2587</Words>
  <Application>Microsoft Office PowerPoint</Application>
  <PresentationFormat>Custom</PresentationFormat>
  <Paragraphs>380</Paragraphs>
  <Slides>36</Slides>
  <Notes>1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7" baseType="lpstr">
      <vt:lpstr>Arial</vt:lpstr>
      <vt:lpstr>Calibri</vt:lpstr>
      <vt:lpstr>Courier New</vt:lpstr>
      <vt:lpstr>Segoe</vt:lpstr>
      <vt:lpstr>Segoe UI</vt:lpstr>
      <vt:lpstr>Segoe UI Light</vt:lpstr>
      <vt:lpstr>Wingdings</vt:lpstr>
      <vt:lpstr>TEE14 Speaker PPT Template</vt:lpstr>
      <vt:lpstr>SQL Server 14_DRAFT_04222013_ab</vt:lpstr>
      <vt:lpstr>1_TEE14 Speaker PPT Template</vt:lpstr>
      <vt:lpstr>think-cell Slide</vt:lpstr>
      <vt:lpstr>PowerPoint Presentation</vt:lpstr>
      <vt:lpstr>Introducing Microsoft Azure Big Data Platform  https://git.io/vrwyo </vt:lpstr>
      <vt:lpstr>Agenda:</vt:lpstr>
      <vt:lpstr>Big Data overview</vt:lpstr>
      <vt:lpstr>What is Big Data?</vt:lpstr>
      <vt:lpstr>Volume</vt:lpstr>
      <vt:lpstr>Velocity</vt:lpstr>
      <vt:lpstr>Variety</vt:lpstr>
      <vt:lpstr>... and</vt:lpstr>
      <vt:lpstr>Data sources</vt:lpstr>
      <vt:lpstr>Value</vt:lpstr>
      <vt:lpstr>How do big data solutions work?</vt:lpstr>
      <vt:lpstr>RDBMS Query vs Big Data Processing</vt:lpstr>
      <vt:lpstr>Hadoop</vt:lpstr>
      <vt:lpstr>Hadoop</vt:lpstr>
      <vt:lpstr>HDFS data distrubution</vt:lpstr>
      <vt:lpstr>Hadoop MapReduce</vt:lpstr>
      <vt:lpstr>MapReduce program </vt:lpstr>
      <vt:lpstr>Hadoop</vt:lpstr>
      <vt:lpstr>Azure HDInsight</vt:lpstr>
      <vt:lpstr>Hadoop on Azure = HDInsight</vt:lpstr>
      <vt:lpstr>HDInsight Storage Infrastructure</vt:lpstr>
      <vt:lpstr>Demo: Wordcount using Java MapReduce https://git.io/vr29x</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 https://git.io/vrray</vt:lpstr>
      <vt:lpstr>Hands-On Lab https://git.io/vrraF</vt:lpstr>
      <vt:lpstr>Online resources</vt:lpstr>
      <vt:lpstr>Q&amp;A </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102</cp:revision>
  <dcterms:created xsi:type="dcterms:W3CDTF">2014-10-25T14:33:44Z</dcterms:created>
  <dcterms:modified xsi:type="dcterms:W3CDTF">2016-05-24T07:1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